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28"/>
  </p:notesMasterIdLst>
  <p:sldIdLst>
    <p:sldId id="365" r:id="rId2"/>
    <p:sldId id="366" r:id="rId3"/>
    <p:sldId id="394" r:id="rId4"/>
    <p:sldId id="425" r:id="rId5"/>
    <p:sldId id="368" r:id="rId6"/>
    <p:sldId id="413" r:id="rId7"/>
    <p:sldId id="426" r:id="rId8"/>
    <p:sldId id="395" r:id="rId9"/>
    <p:sldId id="370" r:id="rId10"/>
    <p:sldId id="403" r:id="rId11"/>
    <p:sldId id="405" r:id="rId12"/>
    <p:sldId id="406" r:id="rId13"/>
    <p:sldId id="407" r:id="rId14"/>
    <p:sldId id="427" r:id="rId15"/>
    <p:sldId id="408" r:id="rId16"/>
    <p:sldId id="411" r:id="rId17"/>
    <p:sldId id="409" r:id="rId18"/>
    <p:sldId id="428" r:id="rId19"/>
    <p:sldId id="429" r:id="rId20"/>
    <p:sldId id="418" r:id="rId21"/>
    <p:sldId id="416" r:id="rId22"/>
    <p:sldId id="417" r:id="rId23"/>
    <p:sldId id="421" r:id="rId24"/>
    <p:sldId id="430" r:id="rId25"/>
    <p:sldId id="419" r:id="rId26"/>
    <p:sldId id="265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BF204"/>
    <a:srgbClr val="000000"/>
    <a:srgbClr val="DB1BDB"/>
    <a:srgbClr val="AC37ED"/>
    <a:srgbClr val="F4EAFC"/>
    <a:srgbClr val="0070C0"/>
    <a:srgbClr val="284650"/>
    <a:srgbClr val="EDB530"/>
    <a:srgbClr val="06B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B7205E-B7FC-40EF-870E-E67DED4EAFA7}" v="478" dt="2023-07-17T15:07:46.998"/>
    <p1510:client id="{F9665672-157B-8520-E757-AB3353A6CBF7}" v="66" dt="2023-07-31T19:07:52.038"/>
    <p1510:client id="{FF3CFE86-C943-D80F-E301-EE70FA1566A7}" v="1032" dt="2023-06-20T15:33:35.9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010" autoAdjust="0"/>
  </p:normalViewPr>
  <p:slideViewPr>
    <p:cSldViewPr snapToGrid="0">
      <p:cViewPr varScale="1">
        <p:scale>
          <a:sx n="70" d="100"/>
          <a:sy n="70" d="100"/>
        </p:scale>
        <p:origin x="50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5A7B4D-ED4F-4BA5-823D-BB7371DD0BD0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0D162A-3EEB-4860-A30A-4603846AB15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1002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="" xmlns:a16="http://schemas.microsoft.com/office/drawing/2014/main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3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3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="" xmlns:a16="http://schemas.microsoft.com/office/drawing/2014/main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2023 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>
                <a:solidFill>
                  <a:srgbClr val="00206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99731" y="5251977"/>
            <a:ext cx="5648446" cy="582153"/>
          </a:xfrm>
        </p:spPr>
        <p:txBody>
          <a:bodyPr/>
          <a:lstStyle/>
          <a:p>
            <a:r>
              <a:rPr lang="en-IN" sz="3800" dirty="0" smtClean="0"/>
              <a:t>Reflection    </a:t>
            </a:r>
            <a:endParaRPr lang="en-IN" sz="38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190495" y="5834130"/>
            <a:ext cx="5648446" cy="2988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horz"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600" b="0" dirty="0" smtClean="0"/>
              <a:t>Nov-21-2023</a:t>
            </a:r>
            <a:endParaRPr lang="en-IN" sz="1600" b="0" dirty="0"/>
          </a:p>
        </p:txBody>
      </p:sp>
    </p:spTree>
    <p:extLst>
      <p:ext uri="{BB962C8B-B14F-4D97-AF65-F5344CB8AC3E}">
        <p14:creationId xmlns:p14="http://schemas.microsoft.com/office/powerpoint/2010/main" val="1649814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309488" y="662781"/>
            <a:ext cx="11591779" cy="558588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0" y="44216"/>
            <a:ext cx="11591779" cy="6185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ECURITY FILTER CHAI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318" y="591818"/>
            <a:ext cx="7534351" cy="401832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47318" y="4919420"/>
            <a:ext cx="95966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/>
              <a:t>This is filter chain configuration it would be inside a class that extends </a:t>
            </a:r>
            <a:r>
              <a:rPr lang="en-US" sz="2400" dirty="0" err="1" smtClean="0"/>
              <a:t>websecurityadapter</a:t>
            </a:r>
            <a:r>
              <a:rPr lang="en-US" sz="2400" dirty="0" smtClean="0"/>
              <a:t> class in spring boot in previous spring frameworks this configuration done through XML file.</a:t>
            </a:r>
            <a:endParaRPr lang="en-US" sz="2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9331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22" y="677952"/>
            <a:ext cx="11882511" cy="727266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ECURITY CONTEXT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9474" y="1615153"/>
            <a:ext cx="1134931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ecurity context hold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details of the currently authenticated principal (user) and any granted authorities (roles or permissions). It is typically stored in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read local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riable, making it accessible to the entire thread processing the current request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curitycontextHolder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s static methods to set and get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curitycontext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associated with current thread.</a:t>
            </a:r>
          </a:p>
          <a:p>
            <a:pPr lvl="2"/>
            <a:r>
              <a:rPr lang="en-IN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curityContext</a:t>
            </a:r>
            <a:r>
              <a:rPr lang="en-IN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000" b="1" dirty="0">
                <a:latin typeface="Arial" panose="020B0604020202020204" pitchFamily="34" charset="0"/>
                <a:cs typeface="Arial" panose="020B0604020202020204" pitchFamily="34" charset="0"/>
              </a:rPr>
              <a:t>context= </a:t>
            </a:r>
            <a:r>
              <a:rPr lang="en-IN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curityContextHolder.getContext</a:t>
            </a:r>
            <a:r>
              <a:rPr lang="en-IN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pPr lvl="2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uthentication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context.getAuthentication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pPr lvl="2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f (authentication != null &amp;&amp;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.isAuthenticated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)) {</a:t>
            </a:r>
          </a:p>
          <a:p>
            <a:pPr lvl="2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bjec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incipal =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.getPrincipal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pPr lvl="2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llection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&lt;? extends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GrantedAuthority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&gt; authorities =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.getAuthorities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pPr lvl="2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en-IN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367364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495981"/>
            <a:ext cx="11882511" cy="754595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AUTHENTICATION MANAGER &amp; PROVIDER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9474" y="1615153"/>
            <a:ext cx="1134931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Manag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nterface is a core component responsible for authenticating users within an application. It acts as a central point for processing authentication requests and determining whether a user's credentials are valid. Th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Manag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ypically delegates the authentication process to one or more configured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Provid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mplementations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ach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Provid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mplementation is responsible for verifying the user's credentials against a specific authentication source. For example, you might have an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Provid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mplementation for database authentication, LDAP authentication,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OAut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uthentication, or custom authentication logic.</a:t>
            </a: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30530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3260" y="0"/>
            <a:ext cx="1134931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@Configuration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nableWebSecurit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ublic class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ecurityConfi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extends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WebSecurityConfigurerAdapt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@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owired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serDetailsServ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serDetailsServ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@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owired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ustom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ustom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@Override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protected void configure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enticationManagerBuil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 throws Exception {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// First authentication provider: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= new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.setUserDetailsServ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serDetailsServ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.setPasswordEnco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asswordEnco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);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// Second authentication provider: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ustomAuthenticationProvid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.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ao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.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ustomAuthenticationProvi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408347380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3260" y="0"/>
            <a:ext cx="1134931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@Override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protected void configure(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HttpSecurit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http) throws Exception {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http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orizeRequest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tMatche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"/admin/**")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hasRo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"ADMIN"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tMatche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"/user/**")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hasAnyRo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"USER", "ADMIN"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yReques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.authenticated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and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ormLogi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loginPag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"/login"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mitAl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and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.logout()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mitAl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@Bean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public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asswordEnco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asswordEnco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 {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    return new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CryptPasswordEncode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7516784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774" y="520569"/>
            <a:ext cx="11882511" cy="931714"/>
          </a:xfrm>
        </p:spPr>
        <p:txBody>
          <a:bodyPr/>
          <a:lstStyle/>
          <a:p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DaoAuthentication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12378" y="3488607"/>
            <a:ext cx="11882511" cy="9076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3577"/>
            <a:ext cx="6413830" cy="36503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653" y="2590581"/>
            <a:ext cx="6464632" cy="426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62238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accent6">
                    <a:lumMod val="50000"/>
                  </a:schemeClr>
                </a:solidFill>
              </a:rPr>
              <a:t>JWT AUTHENTICATION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3306" y="3109032"/>
            <a:ext cx="4445253" cy="274151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3" y="768797"/>
            <a:ext cx="8057584" cy="331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75515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48349"/>
            <a:ext cx="11882511" cy="664451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JWT AUTH CODE - FILTER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6327" y="1391237"/>
            <a:ext cx="10157012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AuthenticationFilt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tends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ePerRequestFilt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wired</a:t>
            </a:r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Help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Help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wired</a:t>
            </a:r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Servi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Servi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Override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otected void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FilterInternal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ervletRequest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quest,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ervletRespons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ponse,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Chai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Chai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throws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letExcep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Excep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Head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.getHead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"Authorization"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//Bearer 2352345235sdfrsfgsdfsdf</a:t>
            </a:r>
          </a:p>
          <a:p>
            <a:r>
              <a:rPr lang="en-US" sz="14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String 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name = null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String token = null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if 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Header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!= null &amp;&amp;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Header.startsWith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"Bearer"))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//looking good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token =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Header.substring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7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try {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endParaRPr lang="en-US" sz="1400" b="0" i="0" dirty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191439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1127" y="121237"/>
            <a:ext cx="10157012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name 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jwtHelper.getUsernameFromToke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oken);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 catch 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legalArgumentExcep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)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logger.info("Illegal Argument while fetching the username !!"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printStackTra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 catch 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iredJwtExcep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)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logger.info("Given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ken is expired !!"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printStackTra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 catch 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formedJwtExcep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)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logger.info("Some changed has done in token !! Invalid Token"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printStackTra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 catch (Exception e)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printStackTrac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} else {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logger.info("Invalid Header Value !! "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}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sername != null &amp;&amp;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ContextHolder.getContext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Authenticatio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 == null) {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//fetch user detail from username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userDetailsService.loadUserByUsername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sername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Boolean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eToke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jwtHelper.validateToke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oken, 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if (</a:t>
            </a:r>
            <a:r>
              <a:rPr lang="en-US" sz="14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eToken</a:t>
            </a:r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endParaRPr lang="en-US" sz="14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endParaRPr lang="en-US" sz="1400" b="0" i="0" dirty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761420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35633" y="111680"/>
            <a:ext cx="10157012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/set the authentication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namePasswordAuthenticationToke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thentication = new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namePasswordAuthenticationToke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ll,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.getAuthoritie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entication.setDetail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ew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AuthenticationDetailsSource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Detail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equest)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ContextHolder.getContext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Authenticatio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uthentication)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 else {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logger.info("Validation fails !!"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}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}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Chain.doFilt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equest, response)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  <a:p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62561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3117590" y="413411"/>
            <a:ext cx="6400800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</a:rPr>
              <a:t>AGENDA</a:t>
            </a:r>
            <a:endParaRPr lang="en-IN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17990" y="1176950"/>
            <a:ext cx="3711792" cy="48964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WHY PROTE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PRING SECURIT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PRING SECURITY ARCHITECTURE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FILTER CHAI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ECURITYCONTEX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AUTHENTICATIONMANAGER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AUTHENTICATIONPROVIDER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DAO AUTHENT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JWT AUTHENTIC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OAUTH</a:t>
            </a:r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6332"/>
            <a:ext cx="5075458" cy="507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496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633" y="311735"/>
            <a:ext cx="11882511" cy="1325563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JWT WEBADAPTER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0933" y="1394380"/>
            <a:ext cx="1015701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@Configuration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WebSecurity</a:t>
            </a:r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Config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tends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ecurityConfigurerAdapt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final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ublic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Config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034549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43633" y="0"/>
            <a:ext cx="10157012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Override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otected void configure(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ecurity</a:t>
            </a: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ttp) throws Exception {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http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.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rf</a:t>
            </a: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disable()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Management</a:t>
            </a: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CreationPolicy</a:t>
            </a: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CreationPolicy.STATELESS</a:t>
            </a: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and(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zeRequest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Matcher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"/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**")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All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Request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.authenticated(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.and(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.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FilterBefore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ew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AuthenticationFilt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namePasswordAuthenticationFilter.clas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Bean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Override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ublic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enticationManag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enticationManagerBea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 throws Exception {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return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.authenticationManagerBea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}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343266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30242"/>
            <a:ext cx="11882511" cy="664451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JWT UTIL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0933" y="1394380"/>
            <a:ext cx="10157012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TokenProvider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Value("${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.secret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"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Secret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Value("${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.expiratio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")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Expiratio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ublic String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Toke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uthentication authentication) {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Impl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(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DetailsImpl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entication.getPrincipal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Date now = new Date();</a:t>
            </a: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Date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iryDate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new Date(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.getTime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 + </a:t>
            </a:r>
            <a:r>
              <a:rPr lang="en-US" sz="2000" dirty="0" err="1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wtExpiration</a:t>
            </a:r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3657284917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54733" y="0"/>
            <a:ext cx="10157012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 return </a:t>
            </a:r>
            <a:r>
              <a:rPr lang="en-US" sz="2000" dirty="0" err="1"/>
              <a:t>Jwts.builder</a:t>
            </a:r>
            <a:r>
              <a:rPr lang="en-US" sz="2000" dirty="0"/>
              <a:t>()</a:t>
            </a:r>
          </a:p>
          <a:p>
            <a:r>
              <a:rPr lang="en-US" sz="2000" dirty="0"/>
              <a:t>                .</a:t>
            </a:r>
            <a:r>
              <a:rPr lang="en-US" sz="2000" dirty="0" err="1"/>
              <a:t>setSubject</a:t>
            </a:r>
            <a:r>
              <a:rPr lang="en-US" sz="2000" dirty="0"/>
              <a:t>(</a:t>
            </a:r>
            <a:r>
              <a:rPr lang="en-US" sz="2000" dirty="0" err="1"/>
              <a:t>userDetails.getUsername</a:t>
            </a:r>
            <a:r>
              <a:rPr lang="en-US" sz="2000" dirty="0"/>
              <a:t>())</a:t>
            </a:r>
          </a:p>
          <a:p>
            <a:r>
              <a:rPr lang="en-US" sz="2000" dirty="0"/>
              <a:t>                .</a:t>
            </a:r>
            <a:r>
              <a:rPr lang="en-US" sz="2000" dirty="0" err="1"/>
              <a:t>setIssuedAt</a:t>
            </a:r>
            <a:r>
              <a:rPr lang="en-US" sz="2000" dirty="0"/>
              <a:t>(now)</a:t>
            </a:r>
          </a:p>
          <a:p>
            <a:r>
              <a:rPr lang="en-US" sz="2000" dirty="0"/>
              <a:t>                .</a:t>
            </a:r>
            <a:r>
              <a:rPr lang="en-US" sz="2000" dirty="0" err="1"/>
              <a:t>setExpiration</a:t>
            </a:r>
            <a:r>
              <a:rPr lang="en-US" sz="2000" dirty="0"/>
              <a:t>(</a:t>
            </a:r>
            <a:r>
              <a:rPr lang="en-US" sz="2000" dirty="0" err="1"/>
              <a:t>expiryDate</a:t>
            </a:r>
            <a:r>
              <a:rPr lang="en-US" sz="2000" dirty="0"/>
              <a:t>)</a:t>
            </a:r>
          </a:p>
          <a:p>
            <a:r>
              <a:rPr lang="en-US" sz="2000" dirty="0"/>
              <a:t>                .</a:t>
            </a:r>
            <a:r>
              <a:rPr lang="en-US" sz="2000" dirty="0" err="1"/>
              <a:t>signWith</a:t>
            </a:r>
            <a:r>
              <a:rPr lang="en-US" sz="2000" dirty="0"/>
              <a:t>(SignatureAlgorithm.HS512, </a:t>
            </a:r>
            <a:r>
              <a:rPr lang="en-US" sz="2000" dirty="0" err="1"/>
              <a:t>jwtSecret</a:t>
            </a:r>
            <a:r>
              <a:rPr lang="en-US" sz="2000" dirty="0"/>
              <a:t>)</a:t>
            </a:r>
          </a:p>
          <a:p>
            <a:r>
              <a:rPr lang="en-US" sz="2000" dirty="0"/>
              <a:t>                .compact();</a:t>
            </a:r>
          </a:p>
          <a:p>
            <a:r>
              <a:rPr lang="en-US" sz="2000" dirty="0"/>
              <a:t>    }</a:t>
            </a:r>
          </a:p>
          <a:p>
            <a:r>
              <a:rPr lang="en-US" sz="2000" dirty="0" smtClean="0"/>
              <a:t>public </a:t>
            </a:r>
            <a:r>
              <a:rPr lang="en-US" sz="2000" dirty="0"/>
              <a:t>String </a:t>
            </a:r>
            <a:r>
              <a:rPr lang="en-US" sz="2000" dirty="0" err="1"/>
              <a:t>getUsernameFromJwt</a:t>
            </a:r>
            <a:r>
              <a:rPr lang="en-US" sz="2000" dirty="0"/>
              <a:t>(String token) {</a:t>
            </a:r>
          </a:p>
          <a:p>
            <a:r>
              <a:rPr lang="en-US" sz="2000" dirty="0"/>
              <a:t>        return </a:t>
            </a:r>
            <a:r>
              <a:rPr lang="en-US" sz="2000" dirty="0" err="1"/>
              <a:t>Jwts.parser</a:t>
            </a:r>
            <a:r>
              <a:rPr lang="en-US" sz="2000" dirty="0"/>
              <a:t>().</a:t>
            </a:r>
            <a:r>
              <a:rPr lang="en-US" sz="2000" dirty="0" err="1"/>
              <a:t>setSigningKey</a:t>
            </a:r>
            <a:r>
              <a:rPr lang="en-US" sz="2000" dirty="0"/>
              <a:t>(</a:t>
            </a:r>
            <a:r>
              <a:rPr lang="en-US" sz="2000" dirty="0" err="1"/>
              <a:t>jwtSecret</a:t>
            </a:r>
            <a:r>
              <a:rPr lang="en-US" sz="2000" dirty="0"/>
              <a:t>).</a:t>
            </a:r>
            <a:r>
              <a:rPr lang="en-US" sz="2000" dirty="0" err="1"/>
              <a:t>parseClaimsJws</a:t>
            </a:r>
            <a:r>
              <a:rPr lang="en-US" sz="2000" dirty="0"/>
              <a:t>(token).</a:t>
            </a:r>
            <a:r>
              <a:rPr lang="en-US" sz="2000" dirty="0" err="1"/>
              <a:t>getBody</a:t>
            </a:r>
            <a:r>
              <a:rPr lang="en-US" sz="2000" dirty="0"/>
              <a:t>().</a:t>
            </a:r>
            <a:r>
              <a:rPr lang="en-US" sz="2000" dirty="0" err="1"/>
              <a:t>getSubject</a:t>
            </a:r>
            <a:r>
              <a:rPr lang="en-US" sz="2000" dirty="0"/>
              <a:t>();</a:t>
            </a:r>
          </a:p>
          <a:p>
            <a:r>
              <a:rPr lang="en-US" sz="2000" dirty="0"/>
              <a:t>    }</a:t>
            </a:r>
          </a:p>
          <a:p>
            <a:r>
              <a:rPr lang="en-US" sz="2000" dirty="0" smtClean="0"/>
              <a:t>public </a:t>
            </a:r>
            <a:r>
              <a:rPr lang="en-US" sz="2000" dirty="0" err="1"/>
              <a:t>boolean</a:t>
            </a:r>
            <a:r>
              <a:rPr lang="en-US" sz="2000" dirty="0"/>
              <a:t> </a:t>
            </a:r>
            <a:r>
              <a:rPr lang="en-US" sz="2000" dirty="0" err="1"/>
              <a:t>validateToken</a:t>
            </a:r>
            <a:r>
              <a:rPr lang="en-US" sz="2000" dirty="0"/>
              <a:t>(String </a:t>
            </a:r>
            <a:r>
              <a:rPr lang="en-US" sz="2000" dirty="0" err="1"/>
              <a:t>authToken</a:t>
            </a:r>
            <a:r>
              <a:rPr lang="en-US" sz="2000" dirty="0"/>
              <a:t>) {</a:t>
            </a:r>
          </a:p>
          <a:p>
            <a:r>
              <a:rPr lang="en-US" sz="2000" dirty="0"/>
              <a:t>        try {</a:t>
            </a:r>
          </a:p>
          <a:p>
            <a:r>
              <a:rPr lang="en-US" sz="2000" dirty="0"/>
              <a:t>            </a:t>
            </a:r>
            <a:r>
              <a:rPr lang="en-US" sz="2000" dirty="0" err="1"/>
              <a:t>Jwts.parser</a:t>
            </a:r>
            <a:r>
              <a:rPr lang="en-US" sz="2000" dirty="0"/>
              <a:t>().</a:t>
            </a:r>
            <a:r>
              <a:rPr lang="en-US" sz="2000" dirty="0" err="1"/>
              <a:t>setSigningKey</a:t>
            </a:r>
            <a:r>
              <a:rPr lang="en-US" sz="2000" dirty="0"/>
              <a:t>(</a:t>
            </a:r>
            <a:r>
              <a:rPr lang="en-US" sz="2000" dirty="0" err="1"/>
              <a:t>jwtSecret</a:t>
            </a:r>
            <a:r>
              <a:rPr lang="en-US" sz="2000" dirty="0"/>
              <a:t>).</a:t>
            </a:r>
            <a:r>
              <a:rPr lang="en-US" sz="2000" dirty="0" err="1"/>
              <a:t>parseClaimsJws</a:t>
            </a:r>
            <a:r>
              <a:rPr lang="en-US" sz="2000" dirty="0"/>
              <a:t>(</a:t>
            </a:r>
            <a:r>
              <a:rPr lang="en-US" sz="2000" dirty="0" err="1"/>
              <a:t>authToken</a:t>
            </a:r>
            <a:r>
              <a:rPr lang="en-US" sz="2000" dirty="0"/>
              <a:t>);</a:t>
            </a:r>
          </a:p>
          <a:p>
            <a:r>
              <a:rPr lang="en-US" sz="2000" dirty="0"/>
              <a:t>            return true;</a:t>
            </a:r>
          </a:p>
          <a:p>
            <a:r>
              <a:rPr lang="en-US" sz="2000" dirty="0"/>
              <a:t>        } catch (</a:t>
            </a:r>
            <a:r>
              <a:rPr lang="en-US" sz="2000" dirty="0" err="1"/>
              <a:t>SignatureException</a:t>
            </a:r>
            <a:r>
              <a:rPr lang="en-US" sz="2000" dirty="0"/>
              <a:t> ex) {</a:t>
            </a:r>
          </a:p>
          <a:p>
            <a:r>
              <a:rPr lang="en-US" sz="2000" dirty="0"/>
              <a:t>            </a:t>
            </a:r>
            <a:r>
              <a:rPr lang="en-US" sz="2000" dirty="0" err="1"/>
              <a:t>logger.error</a:t>
            </a:r>
            <a:r>
              <a:rPr lang="en-US" sz="2000" dirty="0"/>
              <a:t>("Invalid JWT signature</a:t>
            </a:r>
            <a:r>
              <a:rPr lang="en-US" sz="2000" dirty="0" smtClean="0"/>
              <a:t>");// AND MORE OTHER EXCEPTIONS</a:t>
            </a:r>
            <a:endParaRPr lang="en-US" sz="2000" dirty="0"/>
          </a:p>
          <a:p>
            <a:r>
              <a:rPr lang="en-US" sz="2000" dirty="0" smtClean="0"/>
              <a:t>return </a:t>
            </a:r>
            <a:r>
              <a:rPr lang="en-US" sz="2000" dirty="0"/>
              <a:t>false;</a:t>
            </a:r>
          </a:p>
          <a:p>
            <a:r>
              <a:rPr lang="en-US" sz="2000" dirty="0"/>
              <a:t>    }</a:t>
            </a:r>
          </a:p>
          <a:p>
            <a:r>
              <a:rPr lang="en-US" sz="20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476319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OAUTH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98353" y="1077363"/>
            <a:ext cx="819955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OAut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(Open Authorization) is an open standard for access delegation, commonly used as a way for Internet users to grant websites or applications access to their information on other websites without sharing their credentials (such as a username and password).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OAut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llows users to log in to a third-party service (the service that wants to access their information) using an account they have already established with another service (such as Google, Facebook, or Twitter) without exposing their password.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94557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OAUTH 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908" y="1431579"/>
            <a:ext cx="5969493" cy="3647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640661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1117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rgbClr val="92D050"/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024" y="265169"/>
            <a:ext cx="11882511" cy="780674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WHY PROTECTION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40412" y="1599841"/>
            <a:ext cx="11379200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/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/>
              <a:t> </a:t>
            </a:r>
            <a:r>
              <a:rPr lang="en-US" sz="2400" dirty="0" smtClean="0"/>
              <a:t>Web application is more or less a outlet where host share resources with others.</a:t>
            </a:r>
          </a:p>
          <a:p>
            <a:pPr lvl="1"/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/>
              <a:t> </a:t>
            </a:r>
            <a:r>
              <a:rPr lang="en-US" sz="2400" dirty="0" smtClean="0"/>
              <a:t>But There has to be a way to control who can access those resources and what resources they can access in a web application. So that resources/data can be prevent from accessed by undesirable  threads.</a:t>
            </a: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öhne"/>
              </a:rPr>
              <a:t/>
            </a:r>
            <a:b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öhne"/>
              </a:rPr>
            </a:b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7297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024" y="265169"/>
            <a:ext cx="11882511" cy="780674"/>
          </a:xfrm>
        </p:spPr>
        <p:txBody>
          <a:bodyPr/>
          <a:lstStyle/>
          <a:p>
            <a:r>
              <a:rPr lang="en-IN" dirty="0" smtClean="0">
                <a:solidFill>
                  <a:schemeClr val="accent6">
                    <a:lumMod val="50000"/>
                  </a:schemeClr>
                </a:solidFill>
              </a:rPr>
              <a:t>THREADS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72679" y="1605297"/>
            <a:ext cx="11379200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/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 smtClean="0"/>
              <a:t> These are some threads </a:t>
            </a:r>
            <a:r>
              <a:rPr lang="en-US" sz="2400" dirty="0"/>
              <a:t>w</a:t>
            </a:r>
            <a:r>
              <a:rPr lang="en-US" sz="2400" dirty="0" smtClean="0"/>
              <a:t>hich can be faced by web application.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sz="2400" dirty="0"/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Injection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XSS (cross site scripting)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CSRF (cross site request forgery)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Session hijack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lvl="1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2728452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5985" y="537882"/>
            <a:ext cx="12046015" cy="768043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PRING SECURITY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9623" y="1485367"/>
            <a:ext cx="1004916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 Spring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ecurity is a powerful and customizable authentication and access control framework for Java applications, particularly those built using the Spring Framework. It provides comprehensive security services for Java EE-based enterprise software applications.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Spring Security integrates seamlessly with the broader Spring ecosystem, leveraging features such as dependency injection, aspect-oriented programming (AOP), and declarative transaction management. This makes it easy to incorporate security features into existing Spring-based applications.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925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5985" y="537882"/>
            <a:ext cx="12046015" cy="768043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KEY FEATURES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9623" y="1485367"/>
            <a:ext cx="1004916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Authentication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Authorization</a:t>
            </a:r>
            <a:endParaRPr lang="en-US" sz="2400" dirty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Web Security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Session manage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Remember me </a:t>
            </a:r>
            <a:r>
              <a:rPr lang="en-US" sz="2400" dirty="0" err="1" smtClean="0">
                <a:latin typeface="Arial" panose="020B0604020202020204" pitchFamily="34" charset="0"/>
              </a:rPr>
              <a:t>auth</a:t>
            </a:r>
            <a:endParaRPr lang="en-US" sz="2400" dirty="0" smtClean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err="1" smtClean="0">
                <a:latin typeface="Arial" panose="020B0604020202020204" pitchFamily="34" charset="0"/>
              </a:rPr>
              <a:t>Oauth</a:t>
            </a:r>
            <a:r>
              <a:rPr lang="en-US" sz="2400" dirty="0" smtClean="0">
                <a:latin typeface="Arial" panose="020B0604020202020204" pitchFamily="34" charset="0"/>
              </a:rPr>
              <a:t> and </a:t>
            </a:r>
            <a:r>
              <a:rPr lang="en-US" sz="2400" dirty="0" err="1" smtClean="0">
                <a:latin typeface="Arial" panose="020B0604020202020204" pitchFamily="34" charset="0"/>
              </a:rPr>
              <a:t>OpenId</a:t>
            </a:r>
            <a:r>
              <a:rPr lang="en-US" sz="2400" dirty="0" smtClean="0">
                <a:latin typeface="Arial" panose="020B0604020202020204" pitchFamily="34" charset="0"/>
              </a:rPr>
              <a:t> </a:t>
            </a:r>
            <a:r>
              <a:rPr lang="en-US" sz="2400" dirty="0" err="1" smtClean="0">
                <a:latin typeface="Arial" panose="020B0604020202020204" pitchFamily="34" charset="0"/>
              </a:rPr>
              <a:t>Auth</a:t>
            </a:r>
            <a:r>
              <a:rPr lang="en-US" sz="2400" dirty="0">
                <a:latin typeface="Arial" panose="020B0604020202020204" pitchFamily="34" charset="0"/>
              </a:rPr>
              <a:t/>
            </a:r>
            <a:br>
              <a:rPr lang="en-US" sz="2400" dirty="0">
                <a:latin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012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PRING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SECURITY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ARCHITECTURE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64" y="965250"/>
            <a:ext cx="10058400" cy="523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03673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514" y="519993"/>
            <a:ext cx="9900159" cy="5473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22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9433" y="127886"/>
            <a:ext cx="11882511" cy="1066292"/>
          </a:xfrm>
        </p:spPr>
        <p:txBody>
          <a:bodyPr/>
          <a:lstStyle/>
          <a:p>
            <a:r>
              <a:rPr lang="en-IN" dirty="0" smtClean="0">
                <a:solidFill>
                  <a:schemeClr val="accent6">
                    <a:lumMod val="50000"/>
                  </a:schemeClr>
                </a:solidFill>
              </a:rPr>
              <a:t>SECURITY FILTER CHAIN</a:t>
            </a:r>
            <a:endParaRPr lang="en-IN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31299" y="984674"/>
            <a:ext cx="11910645" cy="67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98375" rIns="0" bIns="198375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9623" y="1485367"/>
            <a:ext cx="1004916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/>
              <a:t>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ecurity Filter Chain is a crucial component responsible for processing incoming HTTP requests and enforcing security measures such as authentication, authorization, and other security-relate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asks. These are component implemented in the </a:t>
            </a:r>
            <a:r>
              <a:rPr lang="en-US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vax.servlet.Filter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I</a:t>
            </a:r>
            <a:r>
              <a:rPr lang="en-US" sz="2400" b="1" dirty="0" smtClean="0">
                <a:latin typeface="Arial" panose="020B0604020202020204" pitchFamily="34" charset="0"/>
              </a:rPr>
              <a:t>LTER TYPES</a:t>
            </a: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Security context initializer</a:t>
            </a: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err="1" smtClean="0">
                <a:latin typeface="Arial" panose="020B0604020202020204" pitchFamily="34" charset="0"/>
              </a:rPr>
              <a:t>Authentication,Authorization</a:t>
            </a:r>
            <a:endParaRPr lang="en-US" sz="2400" dirty="0" smtClean="0">
              <a:latin typeface="Arial" panose="020B0604020202020204" pitchFamily="34" charset="0"/>
            </a:endParaRP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CSRF protection</a:t>
            </a: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Session management</a:t>
            </a: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Custom filters</a:t>
            </a:r>
          </a:p>
          <a:p>
            <a:pPr marL="1200150" lvl="2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Logout</a:t>
            </a: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atin typeface="Arial" panose="020B0604020202020204" pitchFamily="34" charset="0"/>
              </a:rPr>
              <a:t/>
            </a:r>
            <a:br>
              <a:rPr lang="en-US" sz="2400" dirty="0">
                <a:latin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837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961810D3-08CE-4926-9DCF-3700EF943F31}" vid="{5F83480B-539E-4A35-B46B-818FDD955D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027</TotalTime>
  <Words>1218</Words>
  <Application>Microsoft Office PowerPoint</Application>
  <PresentationFormat>Widescreen</PresentationFormat>
  <Paragraphs>251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Söhne</vt:lpstr>
      <vt:lpstr>Times New Roman</vt:lpstr>
      <vt:lpstr>Wingdings</vt:lpstr>
      <vt:lpstr>Default Theme</vt:lpstr>
      <vt:lpstr>think-cell Slide</vt:lpstr>
      <vt:lpstr>Reflection    </vt:lpstr>
      <vt:lpstr>PowerPoint Presentation</vt:lpstr>
      <vt:lpstr>WHY PROTECTION</vt:lpstr>
      <vt:lpstr>THREADS</vt:lpstr>
      <vt:lpstr>SPRING SECURITY</vt:lpstr>
      <vt:lpstr>KEY FEATURES</vt:lpstr>
      <vt:lpstr>SPRING SECURITY ARCHITECTURE </vt:lpstr>
      <vt:lpstr>PowerPoint Presentation</vt:lpstr>
      <vt:lpstr>SECURITY FILTER CHAIN</vt:lpstr>
      <vt:lpstr>PowerPoint Presentation</vt:lpstr>
      <vt:lpstr>SECURITY CONTEXT</vt:lpstr>
      <vt:lpstr>AUTHENTICATION MANAGER &amp; PROVIDER</vt:lpstr>
      <vt:lpstr>PowerPoint Presentation</vt:lpstr>
      <vt:lpstr>PowerPoint Presentation</vt:lpstr>
      <vt:lpstr>DaoAuthentication</vt:lpstr>
      <vt:lpstr>JWT AUTHENTICATION</vt:lpstr>
      <vt:lpstr>JWT AUTH CODE - FILTER</vt:lpstr>
      <vt:lpstr>PowerPoint Presentation</vt:lpstr>
      <vt:lpstr>PowerPoint Presentation</vt:lpstr>
      <vt:lpstr>JWT WEBADAPTER</vt:lpstr>
      <vt:lpstr>PowerPoint Presentation</vt:lpstr>
      <vt:lpstr>JWT UTIL</vt:lpstr>
      <vt:lpstr>PowerPoint Presentation</vt:lpstr>
      <vt:lpstr>OAUTH</vt:lpstr>
      <vt:lpstr>OAUTH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vitheran AR</dc:creator>
  <cp:lastModifiedBy>Kamarsaman Ahamed K</cp:lastModifiedBy>
  <cp:revision>912</cp:revision>
  <dcterms:created xsi:type="dcterms:W3CDTF">2023-03-20T11:59:32Z</dcterms:created>
  <dcterms:modified xsi:type="dcterms:W3CDTF">2024-04-26T05:28:48Z</dcterms:modified>
</cp:coreProperties>
</file>